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49"/>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 id="491" r:id="rId48"/>
  </p:sldIdLst>
  <p:sldSz cx="12192000" cy="6858000"/>
  <p:notesSz cx="6858000" cy="9144000"/>
  <p:custDataLst>
    <p:tags r:id="rId5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86" autoAdjust="0"/>
    <p:restoredTop sz="91839" autoAdjust="0"/>
  </p:normalViewPr>
  <p:slideViewPr>
    <p:cSldViewPr snapToGrid="0">
      <p:cViewPr varScale="1">
        <p:scale>
          <a:sx n="105" d="100"/>
          <a:sy n="105" d="100"/>
        </p:scale>
        <p:origin x="1380" y="5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30"/>
            <a:ext cx="4996444" cy="5715356"/>
            <a:chOff x="2690231" y="189230"/>
            <a:chExt cx="4996444" cy="5715356"/>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30"/>
              <a:ext cx="4996444" cy="5715356"/>
              <a:chOff x="2690231" y="189230"/>
              <a:chExt cx="4996444" cy="5715356"/>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30"/>
                <a:ext cx="4930523" cy="570433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r>
              <a:rPr lang="de-DE" sz="1100" dirty="0">
                <a:solidFill>
                  <a:srgbClr val="C6CDD5"/>
                </a:solidFill>
                <a:latin typeface="-apple-system"/>
              </a:rPr>
              <a:t>Sie sich</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641786" y="811334"/>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665427"/>
            <a:ext cx="3695440" cy="4672088"/>
            <a:chOff x="5239355" y="665427"/>
            <a:chExt cx="3695440" cy="4672088"/>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665427"/>
              <a:ext cx="3695440" cy="4672088"/>
              <a:chOff x="5239355" y="665427"/>
              <a:chExt cx="3695440" cy="4672088"/>
            </a:xfrm>
          </p:grpSpPr>
          <mc:AlternateContent xmlns:mc="http://schemas.openxmlformats.org/markup-compatibility/2006">
            <mc:Choice xmlns:a14="http://schemas.microsoft.com/office/drawing/2010/main"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665427"/>
                <a:ext cx="3695440" cy="4672088"/>
                <a:chOff x="5239355" y="665427"/>
                <a:chExt cx="3695440" cy="4672088"/>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665427"/>
                  <a:ext cx="3695440" cy="4672088"/>
                  <a:chOff x="5291815" y="47358"/>
                  <a:chExt cx="3695440" cy="4672088"/>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47358"/>
                    <a:ext cx="3695440" cy="4672088"/>
                    <a:chOff x="5291815" y="47358"/>
                    <a:chExt cx="3695440" cy="4672088"/>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47358"/>
                      <a:ext cx="3695440" cy="4672088"/>
                      <a:chOff x="5291815" y="47358"/>
                      <a:chExt cx="3695440" cy="4672088"/>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47358"/>
                        <a:ext cx="3695440" cy="4672088"/>
                        <a:chOff x="5291815" y="47358"/>
                        <a:chExt cx="3695440" cy="4672088"/>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47358"/>
                          <a:ext cx="3695440" cy="4672088"/>
                          <a:chOff x="5291815" y="47358"/>
                          <a:chExt cx="3695440" cy="4672088"/>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47358"/>
                            <a:ext cx="3695440" cy="4672088"/>
                            <a:chOff x="5291815" y="47358"/>
                            <a:chExt cx="3695440" cy="4672088"/>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47358"/>
                              <a:ext cx="3695440" cy="4672088"/>
                              <a:chOff x="5291815" y="47358"/>
                              <a:chExt cx="3695440" cy="4672088"/>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47358"/>
                                <a:ext cx="3695440" cy="4672088"/>
                                <a:chOff x="5291815" y="47358"/>
                                <a:chExt cx="3695440" cy="4672088"/>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47358"/>
                                  <a:ext cx="3695440" cy="4672088"/>
                                  <a:chOff x="5291815" y="47358"/>
                                  <a:chExt cx="3695440" cy="4672088"/>
                                </a:xfrm>
                              </p:grpSpPr>
                              <p:sp>
                                <p:nvSpPr>
                                  <p:cNvPr id="18" name="Rechteck 17">
                                    <a:extLst>
                                      <a:ext uri="{FF2B5EF4-FFF2-40B4-BE49-F238E27FC236}">
                                        <a16:creationId xmlns:a16="http://schemas.microsoft.com/office/drawing/2014/main" id="{31EF5CDD-FF3D-42EC-639D-BEE68101E676}"/>
                                      </a:ext>
                                    </a:extLst>
                                  </p:cNvPr>
                                  <p:cNvSpPr/>
                                  <p:nvPr/>
                                </p:nvSpPr>
                                <p:spPr>
                                  <a:xfrm>
                                    <a:off x="5291819" y="99321"/>
                                    <a:ext cx="3695435" cy="4620125"/>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sp>
                                <p:nvSpPr>
                                  <p:cNvPr id="1424" name="Rectangle 21">
                                    <a:extLst>
                                      <a:ext uri="{FF2B5EF4-FFF2-40B4-BE49-F238E27FC236}">
                                        <a16:creationId xmlns:a16="http://schemas.microsoft.com/office/drawing/2014/main" id="{C6479740-D8CC-A16C-87B1-9A6E358D2E9E}"/>
                                      </a:ext>
                                    </a:extLst>
                                  </p:cNvPr>
                                  <p:cNvSpPr/>
                                  <p:nvPr/>
                                </p:nvSpPr>
                                <p:spPr>
                                  <a:xfrm>
                                    <a:off x="5291819" y="47358"/>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mc:Choice xmlns:a14="http://schemas.microsoft.com/office/drawing/2010/main"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mc:Choice xmlns:a14="http://schemas.microsoft.com/office/drawing/2010/main"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mc:Choice xmlns:a14="http://schemas.microsoft.com/office/drawing/2010/main"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mc:Choice xmlns:a14="http://schemas.microsoft.com/office/drawing/2010/main"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r="-3571"/>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379988"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281516"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800727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625758"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37998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367246" y="6017267"/>
                <a:ext cx="180001" cy="24445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8007274"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62575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79988"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229125"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80072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625758"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379988"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367246" y="6302453"/>
                <a:ext cx="180001" cy="226738"/>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8007274"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625758"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a:off x="8107162" y="3297084"/>
              <a:ext cx="0"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a:off x="8479876" y="3297084"/>
              <a:ext cx="0" cy="103603"/>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a:off x="7725646" y="3297084"/>
              <a:ext cx="0"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537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78328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16480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82409"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a:off x="7725646"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725646" y="3580687"/>
              <a:ext cx="75423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725646" y="3580687"/>
              <a:ext cx="381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10639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10639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a:off x="8479876"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a:off x="8107162"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107162" y="3580687"/>
              <a:ext cx="37271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725646" y="3580687"/>
              <a:ext cx="381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8107162" y="3580687"/>
              <a:ext cx="37271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725646" y="3580687"/>
              <a:ext cx="75423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436639"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725646"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a:off x="7725646"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a:off x="8107162"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a:off x="8479876"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8107162"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479876"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8107162" y="3864534"/>
              <a:ext cx="37271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725646" y="3864534"/>
              <a:ext cx="38151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5299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725646" y="3864534"/>
              <a:ext cx="38151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8107162" y="3864534"/>
              <a:ext cx="37271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725646" y="3864534"/>
              <a:ext cx="75423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28413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68240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106392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43663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91142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725646" y="3864534"/>
              <a:ext cx="75423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52990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91142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28413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52990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725646" y="4157820"/>
              <a:ext cx="38151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725646" y="4157820"/>
              <a:ext cx="75423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725646" y="4157820"/>
              <a:ext cx="38151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8107162" y="4157820"/>
              <a:ext cx="37271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91142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8107162" y="4157820"/>
              <a:ext cx="37271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725646" y="4157820"/>
              <a:ext cx="75423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28413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93768" y="3589759"/>
              <a:ext cx="265906" cy="1889614"/>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072</Words>
  <Application>Microsoft Office PowerPoint</Application>
  <PresentationFormat>Breitbild</PresentationFormat>
  <Paragraphs>1238</Paragraphs>
  <Slides>47</Slides>
  <Notes>39</Notes>
  <HiddenSlides>12</HiddenSlides>
  <MMClips>2</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9" baseType="lpstr">
      <vt:lpstr>-apple-system</vt: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07</cp:revision>
  <dcterms:created xsi:type="dcterms:W3CDTF">2022-02-05T01:08:08Z</dcterms:created>
  <dcterms:modified xsi:type="dcterms:W3CDTF">2024-05-18T19:1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